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435" r:id="rId2"/>
    <p:sldId id="444" r:id="rId3"/>
    <p:sldId id="441" r:id="rId4"/>
    <p:sldId id="437" r:id="rId5"/>
    <p:sldId id="445" r:id="rId6"/>
    <p:sldId id="446" r:id="rId7"/>
    <p:sldId id="447" r:id="rId8"/>
    <p:sldId id="448" r:id="rId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216" autoAdjust="0"/>
    <p:restoredTop sz="71669" autoAdjust="0"/>
  </p:normalViewPr>
  <p:slideViewPr>
    <p:cSldViewPr snapToGrid="0">
      <p:cViewPr>
        <p:scale>
          <a:sx n="70" d="100"/>
          <a:sy n="70" d="100"/>
        </p:scale>
        <p:origin x="43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handoutMaster" Target="handoutMasters/handoutMaster1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BA2DA-643A-463C-866E-F35E694B91DA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ADDB0-2A0F-4F20-9C2F-50EEC6A37EB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3618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DB449-486F-456A-B109-598711D3768F}" type="datetimeFigureOut">
              <a:rPr lang="de-DE" smtClean="0"/>
              <a:t>30.10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4E32A-773C-4929-8D99-18F8AD191AE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999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64E32A-773C-4929-8D99-18F8AD191A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320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17599" y="2298170"/>
            <a:ext cx="8026767" cy="520700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Arial"/>
              </a:defRPr>
            </a:lvl1pPr>
          </a:lstStyle>
          <a:p>
            <a:r>
              <a:rPr lang="en-US" dirty="0" smtClean="0"/>
              <a:t>Das </a:t>
            </a:r>
            <a:r>
              <a:rPr lang="en-US" dirty="0" err="1" smtClean="0"/>
              <a:t>ist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Haupttitel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0" y="2857501"/>
            <a:ext cx="12192000" cy="40004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Arial Narrow" panose="020B0606020202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17599" y="2936880"/>
            <a:ext cx="8026765" cy="218440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defRPr lang="de-DE" sz="3200" b="0" baseline="0" dirty="0" smtClean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de-DE" dirty="0" smtClean="0"/>
              <a:t>Das ist der 2-zeilige Subtit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17600" y="5808710"/>
            <a:ext cx="7213600" cy="1016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smtClean="0"/>
              <a:t>Ort, Datum,</a:t>
            </a:r>
          </a:p>
          <a:p>
            <a:pPr lvl="0"/>
            <a:r>
              <a:rPr lang="de-DE" dirty="0" smtClean="0"/>
              <a:t>Autor</a:t>
            </a:r>
          </a:p>
          <a:p>
            <a:pPr lvl="0"/>
            <a:r>
              <a:rPr lang="de-DE" dirty="0" smtClean="0"/>
              <a:t>Status</a:t>
            </a:r>
          </a:p>
          <a:p>
            <a:pPr lvl="0"/>
            <a:endParaRPr lang="de-DE" dirty="0" smtClean="0"/>
          </a:p>
        </p:txBody>
      </p:sp>
      <p:pic>
        <p:nvPicPr>
          <p:cNvPr id="7" name="Picture 8" descr="LOGO_mast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2788" y="0"/>
            <a:ext cx="2285726" cy="841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FE8F5-41A3-4301-A47F-31831316DC49}" type="datetime4">
              <a:rPr lang="de-DE" smtClean="0"/>
              <a:t>30. October 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54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F9C7B1-2EC2-4381-AE6A-D48C16AF6BB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318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DDF41F-C0CD-4D6D-B1B8-371D59A6A59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99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BF642D4-A5D5-48EB-8816-07EBA5FFB1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786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1C4843-1809-40E5-8578-E03375F47FB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462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83A4E86-E105-42C2-BFCD-87B6057E2C9B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6324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27DAB0F-5D0B-4037-9758-854518C8BB94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1018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DB60C92-C9DA-4155-9A8C-48BE6E17960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92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135CF49-9A73-47A7-8F65-8E7E92988D2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2206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224FF2-59FA-4BA9-B22B-606D9A3E51C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689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031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tx1">
                  <a:lumMod val="85000"/>
                  <a:lumOff val="15000"/>
                </a:schemeClr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85000"/>
                  <a:lumOff val="1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85000"/>
                  <a:lumOff val="1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85000"/>
                  <a:lumOff val="1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7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A1FED02-8F29-43DF-99E3-E0A5929004F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70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AB9FDA6-75A4-4AC5-A518-6C4F5DCE22D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079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D29804-6381-442D-8431-54AF06AA657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597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475A12F-773D-40F3-975C-324319C1871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824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CA68869-28F7-4FC2-8022-69F8909D12E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24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26D645-7457-46F8-A8FF-6A879952E15F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421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C080181-388A-463F-B5F5-A0B0BA59107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505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5EB56-45A2-4D1A-9B6C-55DE4D0EDF5A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16954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DAF41A4-9F3F-4224-A411-7368417F9465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180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D5FE5AD-E500-4D34-9E44-6DC9EBD25FB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291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42844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235FCF-D5BC-44C9-B9DE-48EFF4593A2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269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EF625A-31C6-4C43-A417-E21D122C48C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662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9E491-B4C2-46B6-A237-FACFE3FBE201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530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B8F62F-A418-41F2-A2B8-0712C2875A7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570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E4A0E54-2F12-40C8-9BEB-C4B6394B4ECD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35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E05A7F5-773C-4881-A0C4-FD42EFE01DC0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1451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4714CE8-8790-46E3-A6C5-5A488DF231B9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660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3E987FC-42D9-453A-9633-2C730DEED79C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4027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858E51C-64A7-4E7C-AB35-CFC5B09D3A53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2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7FDC5D2-36A7-438D-9651-EF40CEE3BFF8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8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120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2351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8EDA7CF-0B25-4927-9C0E-D25F75C14022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5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1DB4873-AA39-4F92-AC07-5D311AB9735E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03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0E188F9-1BFA-4825-9F8A-513A15D1205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6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27018"/>
            <a:ext cx="12192000" cy="230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67" y="452438"/>
            <a:ext cx="10938933" cy="99536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Hochschule</a:t>
            </a:r>
            <a:r>
              <a:rPr lang="en-US" dirty="0" smtClean="0"/>
              <a:t> </a:t>
            </a:r>
            <a:r>
              <a:rPr lang="en-US" dirty="0" err="1" smtClean="0"/>
              <a:t>Münch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7F478BD-39EA-4984-8260-14496EFFC047}" type="datetime4">
              <a:rPr lang="de-DE" smtClean="0"/>
              <a:t>30. October 2016</a:t>
            </a:fld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9467" y="1753201"/>
            <a:ext cx="11015133" cy="4759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9" name="Picture 8" descr="footer.jpg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" y="0"/>
            <a:ext cx="12190307" cy="2304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89467" y="23190"/>
            <a:ext cx="10938933" cy="2645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FontTx/>
              <a:buNone/>
              <a:defRPr sz="1100" b="0" cap="none">
                <a:solidFill>
                  <a:schemeClr val="bg1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>
            <a:off x="3410480" y="6744231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rot="5400000">
            <a:off x="294746" y="6738676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rot="5400000">
            <a:off x="11214630" y="6738674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rot="5400000">
            <a:off x="3410480" y="6737880"/>
            <a:ext cx="225425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1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77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468" y="344169"/>
            <a:ext cx="11168124" cy="995362"/>
          </a:xfrm>
          <a:prstGeom prst="rect">
            <a:avLst/>
          </a:prstGeom>
        </p:spPr>
        <p:txBody>
          <a:bodyPr/>
          <a:lstStyle>
            <a:lvl1pPr>
              <a:defRPr sz="28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r>
              <a:rPr lang="de-DE" dirty="0" smtClean="0"/>
              <a:t>Das ist die Standardfolie mit einer zweizeiligen Überschrift. Hier hat man einiges zu sagen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43279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389467" y="1753201"/>
            <a:ext cx="11168125" cy="4759325"/>
          </a:xfrm>
          <a:prstGeom prst="rect">
            <a:avLst/>
          </a:prstGeom>
        </p:spPr>
        <p:txBody>
          <a:bodyPr/>
          <a:lstStyle>
            <a:lvl1pPr marL="287338" indent="-288000">
              <a:buClr>
                <a:schemeClr val="accent4"/>
              </a:buClr>
              <a:buSzPct val="150000"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40000" indent="-252000">
              <a:buClr>
                <a:schemeClr val="tx1">
                  <a:lumMod val="75000"/>
                  <a:lumOff val="25000"/>
                </a:schemeClr>
              </a:buClr>
              <a:buSzPct val="150000"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792000" indent="-216000">
              <a:buClr>
                <a:schemeClr val="tx1">
                  <a:lumMod val="75000"/>
                  <a:lumOff val="25000"/>
                </a:schemeClr>
              </a:buClr>
              <a:buSzPct val="150000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1008000" indent="-180000">
              <a:buClr>
                <a:schemeClr val="tx1">
                  <a:lumMod val="75000"/>
                  <a:lumOff val="25000"/>
                </a:schemeClr>
              </a:buClr>
              <a:buSzPct val="150000"/>
              <a:defRPr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de-DE" dirty="0" smtClean="0"/>
              <a:t>Gliederungsebene 1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1"/>
            <a:r>
              <a:rPr lang="de-DE" dirty="0" smtClean="0"/>
              <a:t>Gliederungsebene 2</a:t>
            </a:r>
          </a:p>
          <a:p>
            <a:pPr lvl="2"/>
            <a:r>
              <a:rPr lang="de-DE" dirty="0" smtClean="0"/>
              <a:t>Gliederungsebene 3</a:t>
            </a:r>
          </a:p>
          <a:p>
            <a:pPr lvl="3"/>
            <a:r>
              <a:rPr lang="de-DE" dirty="0" smtClean="0"/>
              <a:t>Gliederungsebne 4</a:t>
            </a:r>
          </a:p>
          <a:p>
            <a:pPr lvl="3"/>
            <a:r>
              <a:rPr lang="de-DE" dirty="0" smtClean="0"/>
              <a:t>Dann ist es aber auch gut</a:t>
            </a:r>
          </a:p>
        </p:txBody>
      </p:sp>
    </p:spTree>
    <p:extLst>
      <p:ext uri="{BB962C8B-B14F-4D97-AF65-F5344CB8AC3E}">
        <p14:creationId xmlns:p14="http://schemas.microsoft.com/office/powerpoint/2010/main" val="344976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rgbClr val="6C6C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92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6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7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74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29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436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5"/>
          <p:cNvSpPr/>
          <p:nvPr/>
        </p:nvSpPr>
        <p:spPr>
          <a:xfrm>
            <a:off x="0" y="6680529"/>
            <a:ext cx="12192000" cy="180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4600" y="6531404"/>
            <a:ext cx="711200" cy="365125"/>
          </a:xfrm>
        </p:spPr>
        <p:txBody>
          <a:bodyPr/>
          <a:lstStyle>
            <a:lvl1pPr>
              <a:defRPr sz="1000"/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89467" y="333688"/>
            <a:ext cx="10938933" cy="995362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25" name="Straight Connector 12"/>
          <p:cNvCxnSpPr/>
          <p:nvPr/>
        </p:nvCxnSpPr>
        <p:spPr>
          <a:xfrm rot="5400000">
            <a:off x="11237342" y="6769127"/>
            <a:ext cx="180000" cy="211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64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ags" Target="../tags/tag1.xml"/><Relationship Id="rId47" Type="http://schemas.openxmlformats.org/officeDocument/2006/relationships/oleObject" Target="../embeddings/oleObject1.bin"/><Relationship Id="rId48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theme" Target="../theme/theme1.xml"/><Relationship Id="rId4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5356645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7" name="think-cell Folie" r:id="rId47" imgW="359" imgH="358" progId="TCLayout.ActiveDocument.1">
                  <p:embed/>
                </p:oleObj>
              </mc:Choice>
              <mc:Fallback>
                <p:oleObj name="think-cell Folie" r:id="rId4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6648" y="6486526"/>
            <a:ext cx="1454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mtClean="0"/>
              <a:t>Hochschule München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486526"/>
            <a:ext cx="711200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13282FB-536A-4491-BC5C-9B3AAEEA56EF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508710" y="6486526"/>
            <a:ext cx="2978149" cy="365125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204FF091-6AFD-46C0-A7CF-A8042EB4153F}" type="datetime4">
              <a:rPr lang="de-DE" smtClean="0"/>
              <a:t>30. October 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92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2" r:id="rId20"/>
    <p:sldLayoutId id="2147483683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2" r:id="rId28"/>
    <p:sldLayoutId id="2147483694" r:id="rId29"/>
    <p:sldLayoutId id="2147483696" r:id="rId30"/>
    <p:sldLayoutId id="2147483698" r:id="rId31"/>
    <p:sldLayoutId id="2147483700" r:id="rId32"/>
    <p:sldLayoutId id="2147483702" r:id="rId33"/>
    <p:sldLayoutId id="2147483704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buNone/>
        <a:defRPr sz="2800" b="1" kern="1200">
          <a:solidFill>
            <a:schemeClr val="tx1">
              <a:lumMod val="85000"/>
              <a:lumOff val="15000"/>
            </a:schemeClr>
          </a:solidFill>
          <a:latin typeface="Arial"/>
          <a:ea typeface="+mj-ea"/>
          <a:cs typeface="Arial"/>
        </a:defRPr>
      </a:lvl1pPr>
    </p:titleStyle>
    <p:bodyStyle>
      <a:lvl1pPr marL="269875" indent="-269875" algn="l" defTabSz="457200" rtl="0" eaLnBrk="1" latinLnBrk="0" hangingPunct="1">
        <a:lnSpc>
          <a:spcPct val="100000"/>
        </a:lnSpc>
        <a:spcBef>
          <a:spcPts val="390"/>
        </a:spcBef>
        <a:spcAft>
          <a:spcPts val="780"/>
        </a:spcAft>
        <a:buClr>
          <a:schemeClr val="tx1">
            <a:lumMod val="85000"/>
            <a:lumOff val="15000"/>
          </a:schemeClr>
        </a:buClr>
        <a:buSzPct val="165000"/>
        <a:buFont typeface="Arial"/>
        <a:buChar char="■"/>
        <a:defRPr sz="16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1pPr>
      <a:lvl2pPr marL="482600" indent="-217488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2pPr>
      <a:lvl3pPr marL="647700" indent="-216000" algn="l" defTabSz="457200" rtl="0" eaLnBrk="1" latinLnBrk="0" hangingPunct="1">
        <a:lnSpc>
          <a:spcPct val="100000"/>
        </a:lnSpc>
        <a:spcBef>
          <a:spcPct val="20000"/>
        </a:spcBef>
        <a:spcAft>
          <a:spcPts val="672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3pPr>
      <a:lvl4pPr marL="806450" indent="-216000" algn="l" defTabSz="457200" rtl="0" eaLnBrk="1" latinLnBrk="0" hangingPunct="1">
        <a:spcBef>
          <a:spcPct val="20000"/>
        </a:spcBef>
        <a:spcAft>
          <a:spcPts val="576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4pPr>
      <a:lvl5pPr marL="920750" indent="-216000" algn="l" defTabSz="534988" rtl="0" eaLnBrk="1" latinLnBrk="0" hangingPunct="1">
        <a:spcBef>
          <a:spcPct val="20000"/>
        </a:spcBef>
        <a:spcAft>
          <a:spcPts val="480"/>
        </a:spcAft>
        <a:buClr>
          <a:schemeClr val="tx1">
            <a:lumMod val="85000"/>
            <a:lumOff val="15000"/>
          </a:schemeClr>
        </a:buClr>
        <a:buSzPct val="150000"/>
        <a:buFont typeface="Lucida Grande"/>
        <a:buChar char="■"/>
        <a:defRPr sz="1400" kern="1200">
          <a:solidFill>
            <a:schemeClr val="tx1">
              <a:lumMod val="85000"/>
              <a:lumOff val="1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1</a:t>
            </a:fld>
            <a:endParaRPr lang="de-DE"/>
          </a:p>
        </p:txBody>
      </p:sp>
      <p:pic>
        <p:nvPicPr>
          <p:cNvPr id="4" name="Picture 2" descr="http://www.atbreak.com/wp-content/uploads/2012/06/over-the-cloud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8"/>
          <a:stretch/>
        </p:blipFill>
        <p:spPr bwMode="auto">
          <a:xfrm>
            <a:off x="0" y="0"/>
            <a:ext cx="12192000" cy="700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4397804"/>
            <a:ext cx="12192000" cy="231616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920" y="0"/>
            <a:ext cx="2384080" cy="88530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380" y="4382306"/>
            <a:ext cx="6743700" cy="213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744968" y="5283109"/>
            <a:ext cx="21259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 smtClean="0">
                <a:latin typeface="Source Code Pro" charset="0"/>
                <a:ea typeface="Source Code Pro" charset="0"/>
                <a:cs typeface="Source Code Pro" charset="0"/>
              </a:rPr>
              <a:t>Summary</a:t>
            </a:r>
            <a:endParaRPr lang="en-US" sz="3600" b="1" dirty="0">
              <a:latin typeface="Source Code Pro" charset="0"/>
              <a:ea typeface="Source Code Pro" charset="0"/>
              <a:cs typeface="Source Code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347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55823" y="2624920"/>
            <a:ext cx="9575800" cy="34854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Cloud Native Stac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71430" y="4086558"/>
            <a:ext cx="9144587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1271430" y="3080916"/>
            <a:ext cx="9144587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8" name="Rechteck 7"/>
          <p:cNvSpPr/>
          <p:nvPr/>
        </p:nvSpPr>
        <p:spPr>
          <a:xfrm>
            <a:off x="1271430" y="1683993"/>
            <a:ext cx="6428219" cy="7683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9" name="Rechteck 8"/>
          <p:cNvSpPr/>
          <p:nvPr/>
        </p:nvSpPr>
        <p:spPr>
          <a:xfrm>
            <a:off x="1280698" y="5128651"/>
            <a:ext cx="9135320" cy="768350"/>
          </a:xfrm>
          <a:prstGeom prst="rect">
            <a:avLst/>
          </a:prstGeom>
          <a:solidFill>
            <a:srgbClr val="386B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081018" y="5256794"/>
            <a:ext cx="30052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Virtualization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040820" y="4229806"/>
            <a:ext cx="26340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Schedule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40820" y="3219665"/>
            <a:ext cx="29562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Orchestrator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31224" y="1611230"/>
            <a:ext cx="392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Cloud Native </a:t>
            </a:r>
            <a:b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</a:b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Application</a:t>
            </a:r>
            <a:r>
              <a:rPr lang="de-DE" sz="2400" dirty="0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 </a:t>
            </a:r>
            <a:r>
              <a:rPr lang="de-DE" sz="2400" dirty="0" err="1" smtClean="0">
                <a:solidFill>
                  <a:schemeClr val="bg1"/>
                </a:solidFill>
                <a:latin typeface="+mj-lt"/>
                <a:ea typeface="Cambria Math" panose="02040503050406030204" pitchFamily="18" charset="0"/>
              </a:rPr>
              <a:t>Platform</a:t>
            </a:r>
            <a:endParaRPr lang="de-DE" sz="2400" dirty="0">
              <a:solidFill>
                <a:schemeClr val="bg1"/>
              </a:solidFill>
              <a:latin typeface="+mj-lt"/>
              <a:ea typeface="Cambria Math" panose="02040503050406030204" pitchFamily="18" charset="0"/>
            </a:endParaRPr>
          </a:p>
        </p:txBody>
      </p:sp>
      <p:sp>
        <p:nvSpPr>
          <p:cNvPr id="17" name="Abgerundetes Rechteck 16"/>
          <p:cNvSpPr/>
          <p:nvPr/>
        </p:nvSpPr>
        <p:spPr>
          <a:xfrm>
            <a:off x="4927600" y="1782823"/>
            <a:ext cx="2674895" cy="54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loud Native App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8" name="Abgerundetes Rechteck 17"/>
          <p:cNvSpPr/>
          <p:nvPr/>
        </p:nvSpPr>
        <p:spPr>
          <a:xfrm>
            <a:off x="8199203" y="3168865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>
                <a:solidFill>
                  <a:schemeClr val="tx1"/>
                </a:solidFill>
              </a:rPr>
              <a:t>Applications</a:t>
            </a:r>
            <a:endParaRPr lang="de-DE" sz="2400" dirty="0" smtClean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8199203" y="4212027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Container</a:t>
            </a:r>
          </a:p>
        </p:txBody>
      </p:sp>
      <p:sp>
        <p:nvSpPr>
          <p:cNvPr id="20" name="Abgerundetes Rechteck 19"/>
          <p:cNvSpPr/>
          <p:nvPr/>
        </p:nvSpPr>
        <p:spPr>
          <a:xfrm>
            <a:off x="8199203" y="5256794"/>
            <a:ext cx="2083544" cy="5018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7854715" y="1683017"/>
            <a:ext cx="2561301" cy="76835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 err="1" smtClean="0"/>
              <a:t>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Applications</a:t>
            </a:r>
            <a:endParaRPr lang="de-DE" sz="2400" dirty="0" smtClean="0"/>
          </a:p>
        </p:txBody>
      </p:sp>
      <p:sp>
        <p:nvSpPr>
          <p:cNvPr id="27" name="Textfeld 14"/>
          <p:cNvSpPr txBox="1"/>
          <p:nvPr/>
        </p:nvSpPr>
        <p:spPr>
          <a:xfrm>
            <a:off x="3761420" y="2584236"/>
            <a:ext cx="3709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Cluster </a:t>
            </a:r>
            <a:r>
              <a:rPr lang="de-DE" sz="2400" dirty="0" smtClean="0">
                <a:latin typeface="+mj-lt"/>
                <a:ea typeface="Cambria Math" panose="02040503050406030204" pitchFamily="18" charset="0"/>
              </a:rPr>
              <a:t>Operating System</a:t>
            </a:r>
            <a:endParaRPr lang="de-DE" sz="2400" dirty="0">
              <a:latin typeface="+mj-lt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213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t="1141"/>
          <a:stretch/>
        </p:blipFill>
        <p:spPr>
          <a:xfrm>
            <a:off x="1190483" y="14217"/>
            <a:ext cx="10326603" cy="6843783"/>
          </a:xfrm>
          <a:prstGeom prst="rect">
            <a:avLst/>
          </a:prstGeom>
        </p:spPr>
      </p:pic>
      <p:sp>
        <p:nvSpPr>
          <p:cNvPr id="5" name="Abgerundete rechteckige Legende 4"/>
          <p:cNvSpPr/>
          <p:nvPr/>
        </p:nvSpPr>
        <p:spPr>
          <a:xfrm>
            <a:off x="76200" y="457200"/>
            <a:ext cx="1839686" cy="881743"/>
          </a:xfrm>
          <a:prstGeom prst="wedgeRoundRectCallout">
            <a:avLst>
              <a:gd name="adj1" fmla="val 78575"/>
              <a:gd name="adj2" fmla="val -155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cces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outside?</a:t>
            </a:r>
          </a:p>
        </p:txBody>
      </p:sp>
      <p:sp>
        <p:nvSpPr>
          <p:cNvPr id="6" name="Abgerundete rechteckige Legende 5"/>
          <p:cNvSpPr/>
          <p:nvPr/>
        </p:nvSpPr>
        <p:spPr>
          <a:xfrm>
            <a:off x="76200" y="2264229"/>
            <a:ext cx="1839686" cy="881743"/>
          </a:xfrm>
          <a:prstGeom prst="wedgeRoundRectCallout">
            <a:avLst>
              <a:gd name="adj1" fmla="val 67924"/>
              <a:gd name="adj2" fmla="val -63648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pos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find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? </a:t>
            </a:r>
          </a:p>
        </p:txBody>
      </p:sp>
      <p:sp>
        <p:nvSpPr>
          <p:cNvPr id="7" name="Abgerundete rechteckige Legende 6"/>
          <p:cNvSpPr/>
          <p:nvPr/>
        </p:nvSpPr>
        <p:spPr>
          <a:xfrm>
            <a:off x="2351314" y="2995236"/>
            <a:ext cx="1839686" cy="881743"/>
          </a:xfrm>
          <a:prstGeom prst="wedgeRoundRectCallout">
            <a:avLst>
              <a:gd name="adj1" fmla="val 107569"/>
              <a:gd name="adj2" fmla="val -9574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e</a:t>
            </a:r>
            <a:r>
              <a:rPr lang="de-DE" sz="1600" dirty="0" smtClean="0">
                <a:solidFill>
                  <a:schemeClr val="tx1"/>
                </a:solidFill>
              </a:rPr>
              <a:t> an </a:t>
            </a:r>
            <a:r>
              <a:rPr lang="de-DE" sz="1600" dirty="0" err="1" smtClean="0">
                <a:solidFill>
                  <a:schemeClr val="tx1"/>
                </a:solidFill>
              </a:rPr>
              <a:t>op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mponent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8" name="Abgerundete rechteckige Legende 7"/>
          <p:cNvSpPr/>
          <p:nvPr/>
        </p:nvSpPr>
        <p:spPr>
          <a:xfrm>
            <a:off x="8164286" y="2643114"/>
            <a:ext cx="1981200" cy="881743"/>
          </a:xfrm>
          <a:prstGeom prst="wedgeRoundRectCallout">
            <a:avLst>
              <a:gd name="adj1" fmla="val -79793"/>
              <a:gd name="adj2" fmla="val -82167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al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th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ndpoin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ilien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ponsiv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9" name="Abgerundete rechteckige Legende 8"/>
          <p:cNvSpPr/>
          <p:nvPr/>
        </p:nvSpPr>
        <p:spPr>
          <a:xfrm>
            <a:off x="9949543" y="2049843"/>
            <a:ext cx="2122713" cy="881743"/>
          </a:xfrm>
          <a:prstGeom prst="wedgeRoundRectCallout">
            <a:avLst>
              <a:gd name="adj1" fmla="val -77119"/>
              <a:gd name="adj2" fmla="val -96981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tec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lve</a:t>
            </a:r>
            <a:r>
              <a:rPr lang="de-DE" sz="1600" dirty="0" smtClean="0">
                <a:solidFill>
                  <a:schemeClr val="tx1"/>
                </a:solidFill>
              </a:rPr>
              <a:t> operational </a:t>
            </a:r>
            <a:r>
              <a:rPr lang="de-DE" sz="1600" dirty="0" err="1" smtClean="0">
                <a:solidFill>
                  <a:schemeClr val="tx1"/>
                </a:solidFill>
              </a:rPr>
              <a:t>anomali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0" name="Abgerundete rechteckige Legende 9"/>
          <p:cNvSpPr/>
          <p:nvPr/>
        </p:nvSpPr>
        <p:spPr>
          <a:xfrm>
            <a:off x="5179644" y="206051"/>
            <a:ext cx="2558141" cy="881743"/>
          </a:xfrm>
          <a:prstGeom prst="wedgeRoundRectCallout">
            <a:avLst>
              <a:gd name="adj1" fmla="val -6153"/>
              <a:gd name="adj2" fmla="val 25740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cluster-</a:t>
            </a:r>
            <a:r>
              <a:rPr lang="de-DE" sz="1600" dirty="0" err="1" smtClean="0">
                <a:solidFill>
                  <a:schemeClr val="tx1"/>
                </a:solidFill>
              </a:rPr>
              <a:t>w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figur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sensu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1" name="Abgerundete rechteckige Legende 10"/>
          <p:cNvSpPr/>
          <p:nvPr/>
        </p:nvSpPr>
        <p:spPr>
          <a:xfrm>
            <a:off x="9172200" y="3579511"/>
            <a:ext cx="2686801" cy="1103236"/>
          </a:xfrm>
          <a:prstGeom prst="wedgeRoundRectCallout">
            <a:avLst>
              <a:gd name="adj1" fmla="val -68735"/>
              <a:gd name="adj2" fmla="val 35120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un</a:t>
            </a:r>
            <a:r>
              <a:rPr lang="de-DE" sz="1600" dirty="0" smtClean="0">
                <a:solidFill>
                  <a:schemeClr val="tx1"/>
                </a:solidFill>
              </a:rPr>
              <a:t> (</a:t>
            </a:r>
            <a:r>
              <a:rPr lang="de-DE" sz="1600" dirty="0" err="1" smtClean="0">
                <a:solidFill>
                  <a:schemeClr val="tx1"/>
                </a:solidFill>
              </a:rPr>
              <a:t>containerized</a:t>
            </a:r>
            <a:r>
              <a:rPr lang="de-DE" sz="1600" dirty="0" smtClean="0">
                <a:solidFill>
                  <a:schemeClr val="tx1"/>
                </a:solidFill>
              </a:rPr>
              <a:t>) </a:t>
            </a:r>
            <a:r>
              <a:rPr lang="de-DE" sz="1600" dirty="0" err="1" smtClean="0">
                <a:solidFill>
                  <a:schemeClr val="tx1"/>
                </a:solidFill>
              </a:rPr>
              <a:t>applications</a:t>
            </a:r>
            <a:r>
              <a:rPr lang="de-DE" sz="1600" dirty="0" smtClean="0">
                <a:solidFill>
                  <a:schemeClr val="tx1"/>
                </a:solidFill>
              </a:rPr>
              <a:t> on a </a:t>
            </a:r>
            <a:r>
              <a:rPr lang="de-DE" sz="1600" dirty="0" err="1" smtClean="0">
                <a:solidFill>
                  <a:schemeClr val="tx1"/>
                </a:solidFill>
              </a:rPr>
              <a:t>cluster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utomat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tandar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peration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cedures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Abgerundete rechteckige Legende 11"/>
          <p:cNvSpPr/>
          <p:nvPr/>
        </p:nvSpPr>
        <p:spPr>
          <a:xfrm>
            <a:off x="218699" y="4996315"/>
            <a:ext cx="2470071" cy="1306514"/>
          </a:xfrm>
          <a:prstGeom prst="wedgeRoundRectCallout">
            <a:avLst>
              <a:gd name="adj1" fmla="val 59666"/>
              <a:gd name="adj2" fmla="val -37079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rovid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igh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containe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execution</a:t>
            </a:r>
            <a:r>
              <a:rPr lang="de-DE" sz="1600" dirty="0" smtClean="0">
                <a:solidFill>
                  <a:schemeClr val="tx1"/>
                </a:solidFill>
              </a:rPr>
              <a:t>? (e.g. </a:t>
            </a:r>
            <a:r>
              <a:rPr lang="de-DE" sz="1600" dirty="0" err="1" smtClean="0">
                <a:solidFill>
                  <a:schemeClr val="tx1"/>
                </a:solidFill>
              </a:rPr>
              <a:t>for</a:t>
            </a:r>
            <a:r>
              <a:rPr lang="de-DE" sz="1600" dirty="0" smtClean="0">
                <a:solidFill>
                  <a:schemeClr val="tx1"/>
                </a:solidFill>
              </a:rPr>
              <a:t> high </a:t>
            </a:r>
            <a:r>
              <a:rPr lang="de-DE" sz="1600" dirty="0" err="1" smtClean="0">
                <a:solidFill>
                  <a:schemeClr val="tx1"/>
                </a:solidFill>
              </a:rPr>
              <a:t>utilization</a:t>
            </a:r>
            <a:r>
              <a:rPr lang="de-DE" sz="160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3" name="Abgerundete rechteckige Legende 12"/>
          <p:cNvSpPr/>
          <p:nvPr/>
        </p:nvSpPr>
        <p:spPr>
          <a:xfrm>
            <a:off x="8677884" y="4835147"/>
            <a:ext cx="3116787" cy="598486"/>
          </a:xfrm>
          <a:prstGeom prst="wedgeRoundRectCallout">
            <a:avLst>
              <a:gd name="adj1" fmla="val -45507"/>
              <a:gd name="adj2" fmla="val 94053"/>
              <a:gd name="adj3" fmla="val 16667"/>
            </a:avLst>
          </a:prstGeom>
          <a:solidFill>
            <a:srgbClr val="FFFFCC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How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ecoup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physica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hardware</a:t>
            </a:r>
            <a:r>
              <a:rPr lang="de-DE" sz="1600" dirty="0" smtClean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1610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CCEB8C-0C59-3646-8774-4E9611D20F23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105" y="-2086"/>
            <a:ext cx="10638095" cy="675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7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Kubernet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145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</a:t>
            </a:r>
            <a:r>
              <a:rPr lang="en-US" dirty="0" err="1" smtClean="0"/>
              <a:t>OpenShift</a:t>
            </a:r>
            <a:r>
              <a:rPr lang="en-US" dirty="0" smtClean="0"/>
              <a:t> v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468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: </a:t>
            </a:r>
            <a:r>
              <a:rPr lang="en-US" dirty="0" err="1" smtClean="0"/>
              <a:t>Konten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08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neak Preview</a:t>
            </a:r>
            <a:r>
              <a:rPr lang="en-US" smtClean="0"/>
              <a:t>: Gestal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3282FB-536A-4491-BC5C-9B3AAEEA56EF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673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aware-folienmaster-1.01">
  <a:themeElements>
    <a:clrScheme name="QAware_Colors">
      <a:dk1>
        <a:srgbClr val="000000"/>
      </a:dk1>
      <a:lt1>
        <a:sysClr val="window" lastClr="FFFFFF"/>
      </a:lt1>
      <a:dk2>
        <a:srgbClr val="666666"/>
      </a:dk2>
      <a:lt2>
        <a:srgbClr val="D2D2D2"/>
      </a:lt2>
      <a:accent1>
        <a:srgbClr val="B34316"/>
      </a:accent1>
      <a:accent2>
        <a:srgbClr val="C84B23"/>
      </a:accent2>
      <a:accent3>
        <a:srgbClr val="CC4B29"/>
      </a:accent3>
      <a:accent4>
        <a:srgbClr val="386B9B"/>
      </a:accent4>
      <a:accent5>
        <a:srgbClr val="619CBB"/>
      </a:accent5>
      <a:accent6>
        <a:srgbClr val="B1D5E3"/>
      </a:accent6>
      <a:hlink>
        <a:srgbClr val="11365A"/>
      </a:hlink>
      <a:folHlink>
        <a:srgbClr val="B2B2B2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accent4"/>
          </a:solidFill>
        </a:ln>
        <a:effectLst/>
      </a:spPr>
      <a:bodyPr rtlCol="0" anchor="ctr"/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tx2"/>
          </a:solidFill>
          <a:headEnd w="lg" len="med"/>
          <a:tailEnd type="triangl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00</TotalTime>
  <Words>131</Words>
  <Application>Microsoft Macintosh PowerPoint</Application>
  <PresentationFormat>Widescreen</PresentationFormat>
  <Paragraphs>33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 Narrow</vt:lpstr>
      <vt:lpstr>Calibri</vt:lpstr>
      <vt:lpstr>Cambria Math</vt:lpstr>
      <vt:lpstr>Lucida Grande</vt:lpstr>
      <vt:lpstr>Source Code Pro</vt:lpstr>
      <vt:lpstr>Arial</vt:lpstr>
      <vt:lpstr>qaware-folienmaster-1.01</vt:lpstr>
      <vt:lpstr>think-cell Folie</vt:lpstr>
      <vt:lpstr>PowerPoint Presentation</vt:lpstr>
      <vt:lpstr>The Cloud Native Stack</vt:lpstr>
      <vt:lpstr>PowerPoint Presentation</vt:lpstr>
      <vt:lpstr>PowerPoint Presentation</vt:lpstr>
      <vt:lpstr>Sneak Preview: Kubernetes</vt:lpstr>
      <vt:lpstr>Sneak Preview: OpenShift v3</vt:lpstr>
      <vt:lpstr>Sneak Preview: Kontena</vt:lpstr>
      <vt:lpstr>Sneak Preview: Gestalt</vt:lpstr>
    </vt:vector>
  </TitlesOfParts>
  <Company>QAware GmbH</Company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ndlagen von Kommunikationssystemen im Internet</dc:title>
  <dc:creator>Christine Kantsperger</dc:creator>
  <cp:lastModifiedBy>Josef Adersberger</cp:lastModifiedBy>
  <cp:revision>527</cp:revision>
  <dcterms:created xsi:type="dcterms:W3CDTF">2014-10-08T07:51:16Z</dcterms:created>
  <dcterms:modified xsi:type="dcterms:W3CDTF">2016-10-30T14:25:44Z</dcterms:modified>
</cp:coreProperties>
</file>